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sldIdLst>
    <p:sldId id="323" r:id="rId5"/>
    <p:sldId id="324" r:id="rId6"/>
    <p:sldId id="325" r:id="rId7"/>
    <p:sldId id="334" r:id="rId8"/>
    <p:sldId id="326" r:id="rId9"/>
    <p:sldId id="327" r:id="rId10"/>
    <p:sldId id="328" r:id="rId11"/>
    <p:sldId id="329" r:id="rId12"/>
    <p:sldId id="330" r:id="rId13"/>
    <p:sldId id="331" r:id="rId14"/>
    <p:sldId id="332" r:id="rId15"/>
    <p:sldId id="333" r:id="rId16"/>
    <p:sldId id="335" r:id="rId17"/>
    <p:sldId id="336" r:id="rId18"/>
  </p:sldIdLst>
  <p:sldSz cx="12192000" cy="6858000"/>
  <p:notesSz cx="6858000" cy="9144000"/>
  <p:custDataLst>
    <p:tags r:id="rId20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vsnitt" id="{858E9C84-A397-4936-8D0C-DB7DF54777C8}">
          <p14:sldIdLst>
            <p14:sldId id="323"/>
            <p14:sldId id="324"/>
            <p14:sldId id="325"/>
            <p14:sldId id="334"/>
            <p14:sldId id="326"/>
            <p14:sldId id="327"/>
            <p14:sldId id="328"/>
            <p14:sldId id="329"/>
            <p14:sldId id="330"/>
            <p14:sldId id="331"/>
            <p14:sldId id="332"/>
            <p14:sldId id="333"/>
            <p14:sldId id="335"/>
            <p14:sldId id="33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79C025-AD04-4072-B4E0-49D6DD49C344}" v="30" dt="2020-04-21T08:18:55.1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99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sson Åsa" userId="e7c157ac-c4f4-446a-aea7-2d9507f60b0e" providerId="ADAL" clId="{D879C025-AD04-4072-B4E0-49D6DD49C344}"/>
    <pc:docChg chg="addSld delSld modSld sldOrd delSection">
      <pc:chgData name="Jonsson Åsa" userId="e7c157ac-c4f4-446a-aea7-2d9507f60b0e" providerId="ADAL" clId="{D879C025-AD04-4072-B4E0-49D6DD49C344}" dt="2020-04-21T08:18:55.122" v="42"/>
      <pc:docMkLst>
        <pc:docMk/>
      </pc:docMkLst>
      <pc:sldChg chg="del">
        <pc:chgData name="Jonsson Åsa" userId="e7c157ac-c4f4-446a-aea7-2d9507f60b0e" providerId="ADAL" clId="{D879C025-AD04-4072-B4E0-49D6DD49C344}" dt="2020-04-21T08:06:24.940" v="13" actId="2696"/>
        <pc:sldMkLst>
          <pc:docMk/>
          <pc:sldMk cId="3570328220" sldId="262"/>
        </pc:sldMkLst>
      </pc:sldChg>
      <pc:sldChg chg="del">
        <pc:chgData name="Jonsson Åsa" userId="e7c157ac-c4f4-446a-aea7-2d9507f60b0e" providerId="ADAL" clId="{D879C025-AD04-4072-B4E0-49D6DD49C344}" dt="2020-04-21T08:06:18.677" v="2" actId="2696"/>
        <pc:sldMkLst>
          <pc:docMk/>
          <pc:sldMk cId="2850266236" sldId="300"/>
        </pc:sldMkLst>
      </pc:sldChg>
      <pc:sldChg chg="del">
        <pc:chgData name="Jonsson Åsa" userId="e7c157ac-c4f4-446a-aea7-2d9507f60b0e" providerId="ADAL" clId="{D879C025-AD04-4072-B4E0-49D6DD49C344}" dt="2020-04-21T08:06:05.137" v="0" actId="2696"/>
        <pc:sldMkLst>
          <pc:docMk/>
          <pc:sldMk cId="2974578957" sldId="312"/>
        </pc:sldMkLst>
      </pc:sldChg>
      <pc:sldChg chg="del">
        <pc:chgData name="Jonsson Åsa" userId="e7c157ac-c4f4-446a-aea7-2d9507f60b0e" providerId="ADAL" clId="{D879C025-AD04-4072-B4E0-49D6DD49C344}" dt="2020-04-21T08:06:20.648" v="3" actId="2696"/>
        <pc:sldMkLst>
          <pc:docMk/>
          <pc:sldMk cId="630493399" sldId="313"/>
        </pc:sldMkLst>
      </pc:sldChg>
      <pc:sldChg chg="del">
        <pc:chgData name="Jonsson Åsa" userId="e7c157ac-c4f4-446a-aea7-2d9507f60b0e" providerId="ADAL" clId="{D879C025-AD04-4072-B4E0-49D6DD49C344}" dt="2020-04-21T08:06:21.621" v="7" actId="2696"/>
        <pc:sldMkLst>
          <pc:docMk/>
          <pc:sldMk cId="4038863374" sldId="314"/>
        </pc:sldMkLst>
      </pc:sldChg>
      <pc:sldChg chg="del">
        <pc:chgData name="Jonsson Åsa" userId="e7c157ac-c4f4-446a-aea7-2d9507f60b0e" providerId="ADAL" clId="{D879C025-AD04-4072-B4E0-49D6DD49C344}" dt="2020-04-21T08:06:22.046" v="10" actId="2696"/>
        <pc:sldMkLst>
          <pc:docMk/>
          <pc:sldMk cId="3821675631" sldId="315"/>
        </pc:sldMkLst>
      </pc:sldChg>
      <pc:sldChg chg="del">
        <pc:chgData name="Jonsson Åsa" userId="e7c157ac-c4f4-446a-aea7-2d9507f60b0e" providerId="ADAL" clId="{D879C025-AD04-4072-B4E0-49D6DD49C344}" dt="2020-04-21T08:06:22.199" v="11" actId="2696"/>
        <pc:sldMkLst>
          <pc:docMk/>
          <pc:sldMk cId="4155864103" sldId="316"/>
        </pc:sldMkLst>
      </pc:sldChg>
      <pc:sldChg chg="del">
        <pc:chgData name="Jonsson Åsa" userId="e7c157ac-c4f4-446a-aea7-2d9507f60b0e" providerId="ADAL" clId="{D879C025-AD04-4072-B4E0-49D6DD49C344}" dt="2020-04-21T08:06:22.321" v="12" actId="2696"/>
        <pc:sldMkLst>
          <pc:docMk/>
          <pc:sldMk cId="108305840" sldId="317"/>
        </pc:sldMkLst>
      </pc:sldChg>
      <pc:sldChg chg="del">
        <pc:chgData name="Jonsson Åsa" userId="e7c157ac-c4f4-446a-aea7-2d9507f60b0e" providerId="ADAL" clId="{D879C025-AD04-4072-B4E0-49D6DD49C344}" dt="2020-04-21T08:06:21.466" v="6" actId="2696"/>
        <pc:sldMkLst>
          <pc:docMk/>
          <pc:sldMk cId="1283371652" sldId="318"/>
        </pc:sldMkLst>
      </pc:sldChg>
      <pc:sldChg chg="del">
        <pc:chgData name="Jonsson Åsa" userId="e7c157ac-c4f4-446a-aea7-2d9507f60b0e" providerId="ADAL" clId="{D879C025-AD04-4072-B4E0-49D6DD49C344}" dt="2020-04-21T08:06:21.797" v="8" actId="2696"/>
        <pc:sldMkLst>
          <pc:docMk/>
          <pc:sldMk cId="2402734577" sldId="319"/>
        </pc:sldMkLst>
      </pc:sldChg>
      <pc:sldChg chg="del">
        <pc:chgData name="Jonsson Åsa" userId="e7c157ac-c4f4-446a-aea7-2d9507f60b0e" providerId="ADAL" clId="{D879C025-AD04-4072-B4E0-49D6DD49C344}" dt="2020-04-21T08:06:21.919" v="9" actId="2696"/>
        <pc:sldMkLst>
          <pc:docMk/>
          <pc:sldMk cId="1714383094" sldId="320"/>
        </pc:sldMkLst>
      </pc:sldChg>
      <pc:sldChg chg="del">
        <pc:chgData name="Jonsson Åsa" userId="e7c157ac-c4f4-446a-aea7-2d9507f60b0e" providerId="ADAL" clId="{D879C025-AD04-4072-B4E0-49D6DD49C344}" dt="2020-04-21T08:06:21.101" v="4" actId="2696"/>
        <pc:sldMkLst>
          <pc:docMk/>
          <pc:sldMk cId="851809030" sldId="321"/>
        </pc:sldMkLst>
      </pc:sldChg>
      <pc:sldChg chg="del">
        <pc:chgData name="Jonsson Åsa" userId="e7c157ac-c4f4-446a-aea7-2d9507f60b0e" providerId="ADAL" clId="{D879C025-AD04-4072-B4E0-49D6DD49C344}" dt="2020-04-21T08:06:21.302" v="5" actId="2696"/>
        <pc:sldMkLst>
          <pc:docMk/>
          <pc:sldMk cId="497750486" sldId="322"/>
        </pc:sldMkLst>
      </pc:sldChg>
      <pc:sldChg chg="addSp modSp add">
        <pc:chgData name="Jonsson Åsa" userId="e7c157ac-c4f4-446a-aea7-2d9507f60b0e" providerId="ADAL" clId="{D879C025-AD04-4072-B4E0-49D6DD49C344}" dt="2020-04-21T08:09:18.099" v="14"/>
        <pc:sldMkLst>
          <pc:docMk/>
          <pc:sldMk cId="152296194" sldId="323"/>
        </pc:sldMkLst>
        <pc:picChg chg="add mod">
          <ac:chgData name="Jonsson Åsa" userId="e7c157ac-c4f4-446a-aea7-2d9507f60b0e" providerId="ADAL" clId="{D879C025-AD04-4072-B4E0-49D6DD49C344}" dt="2020-04-21T08:09:18.099" v="14"/>
          <ac:picMkLst>
            <pc:docMk/>
            <pc:sldMk cId="152296194" sldId="323"/>
            <ac:picMk id="6" creationId="{D12E3EC6-4990-4638-94F2-C3E5BB663C2D}"/>
          </ac:picMkLst>
        </pc:picChg>
      </pc:sldChg>
      <pc:sldChg chg="addSp modSp add">
        <pc:chgData name="Jonsson Åsa" userId="e7c157ac-c4f4-446a-aea7-2d9507f60b0e" providerId="ADAL" clId="{D879C025-AD04-4072-B4E0-49D6DD49C344}" dt="2020-04-21T08:09:50.957" v="18"/>
        <pc:sldMkLst>
          <pc:docMk/>
          <pc:sldMk cId="653015098" sldId="324"/>
        </pc:sldMkLst>
        <pc:picChg chg="add mod">
          <ac:chgData name="Jonsson Åsa" userId="e7c157ac-c4f4-446a-aea7-2d9507f60b0e" providerId="ADAL" clId="{D879C025-AD04-4072-B4E0-49D6DD49C344}" dt="2020-04-21T08:09:50.957" v="18"/>
          <ac:picMkLst>
            <pc:docMk/>
            <pc:sldMk cId="653015098" sldId="324"/>
            <ac:picMk id="6" creationId="{FF7AAD29-4CD5-4D0F-A040-090D3FD5A619}"/>
          </ac:picMkLst>
        </pc:picChg>
      </pc:sldChg>
      <pc:sldChg chg="addSp modSp add">
        <pc:chgData name="Jonsson Åsa" userId="e7c157ac-c4f4-446a-aea7-2d9507f60b0e" providerId="ADAL" clId="{D879C025-AD04-4072-B4E0-49D6DD49C344}" dt="2020-04-21T08:10:09.537" v="19"/>
        <pc:sldMkLst>
          <pc:docMk/>
          <pc:sldMk cId="1801604285" sldId="325"/>
        </pc:sldMkLst>
        <pc:picChg chg="add mod">
          <ac:chgData name="Jonsson Åsa" userId="e7c157ac-c4f4-446a-aea7-2d9507f60b0e" providerId="ADAL" clId="{D879C025-AD04-4072-B4E0-49D6DD49C344}" dt="2020-04-21T08:10:09.537" v="19"/>
          <ac:picMkLst>
            <pc:docMk/>
            <pc:sldMk cId="1801604285" sldId="325"/>
            <ac:picMk id="6" creationId="{6588C029-363E-48E7-9280-6DBB3CD52396}"/>
          </ac:picMkLst>
        </pc:picChg>
      </pc:sldChg>
      <pc:sldChg chg="addSp modSp add">
        <pc:chgData name="Jonsson Åsa" userId="e7c157ac-c4f4-446a-aea7-2d9507f60b0e" providerId="ADAL" clId="{D879C025-AD04-4072-B4E0-49D6DD49C344}" dt="2020-04-21T08:15:26.573" v="33"/>
        <pc:sldMkLst>
          <pc:docMk/>
          <pc:sldMk cId="4120922267" sldId="326"/>
        </pc:sldMkLst>
        <pc:picChg chg="add mod">
          <ac:chgData name="Jonsson Åsa" userId="e7c157ac-c4f4-446a-aea7-2d9507f60b0e" providerId="ADAL" clId="{D879C025-AD04-4072-B4E0-49D6DD49C344}" dt="2020-04-21T08:15:26.573" v="33"/>
          <ac:picMkLst>
            <pc:docMk/>
            <pc:sldMk cId="4120922267" sldId="326"/>
            <ac:picMk id="6" creationId="{32C985ED-1225-459C-9CE0-373618580A7E}"/>
          </ac:picMkLst>
        </pc:picChg>
      </pc:sldChg>
      <pc:sldChg chg="addSp modSp add">
        <pc:chgData name="Jonsson Åsa" userId="e7c157ac-c4f4-446a-aea7-2d9507f60b0e" providerId="ADAL" clId="{D879C025-AD04-4072-B4E0-49D6DD49C344}" dt="2020-04-21T08:16:20.856" v="34"/>
        <pc:sldMkLst>
          <pc:docMk/>
          <pc:sldMk cId="212165759" sldId="327"/>
        </pc:sldMkLst>
        <pc:picChg chg="add mod">
          <ac:chgData name="Jonsson Åsa" userId="e7c157ac-c4f4-446a-aea7-2d9507f60b0e" providerId="ADAL" clId="{D879C025-AD04-4072-B4E0-49D6DD49C344}" dt="2020-04-21T08:16:20.856" v="34"/>
          <ac:picMkLst>
            <pc:docMk/>
            <pc:sldMk cId="212165759" sldId="327"/>
            <ac:picMk id="6" creationId="{20EC805F-DBB4-41FE-BDFC-A8848460C42A}"/>
          </ac:picMkLst>
        </pc:picChg>
      </pc:sldChg>
      <pc:sldChg chg="addSp modSp add">
        <pc:chgData name="Jonsson Åsa" userId="e7c157ac-c4f4-446a-aea7-2d9507f60b0e" providerId="ADAL" clId="{D879C025-AD04-4072-B4E0-49D6DD49C344}" dt="2020-04-21T08:16:36.649" v="35"/>
        <pc:sldMkLst>
          <pc:docMk/>
          <pc:sldMk cId="3943368086" sldId="328"/>
        </pc:sldMkLst>
        <pc:picChg chg="add mod">
          <ac:chgData name="Jonsson Åsa" userId="e7c157ac-c4f4-446a-aea7-2d9507f60b0e" providerId="ADAL" clId="{D879C025-AD04-4072-B4E0-49D6DD49C344}" dt="2020-04-21T08:16:36.649" v="35"/>
          <ac:picMkLst>
            <pc:docMk/>
            <pc:sldMk cId="3943368086" sldId="328"/>
            <ac:picMk id="6" creationId="{97CABA11-408B-4C61-B744-EC7FF69EB33A}"/>
          </ac:picMkLst>
        </pc:picChg>
      </pc:sldChg>
      <pc:sldChg chg="addSp modSp add">
        <pc:chgData name="Jonsson Åsa" userId="e7c157ac-c4f4-446a-aea7-2d9507f60b0e" providerId="ADAL" clId="{D879C025-AD04-4072-B4E0-49D6DD49C344}" dt="2020-04-21T08:16:49.102" v="36"/>
        <pc:sldMkLst>
          <pc:docMk/>
          <pc:sldMk cId="3407753516" sldId="329"/>
        </pc:sldMkLst>
        <pc:picChg chg="add mod">
          <ac:chgData name="Jonsson Åsa" userId="e7c157ac-c4f4-446a-aea7-2d9507f60b0e" providerId="ADAL" clId="{D879C025-AD04-4072-B4E0-49D6DD49C344}" dt="2020-04-21T08:16:49.102" v="36"/>
          <ac:picMkLst>
            <pc:docMk/>
            <pc:sldMk cId="3407753516" sldId="329"/>
            <ac:picMk id="6" creationId="{F6656A72-2A93-40B0-8A34-60F9DE05D4C8}"/>
          </ac:picMkLst>
        </pc:picChg>
      </pc:sldChg>
      <pc:sldChg chg="addSp modSp add">
        <pc:chgData name="Jonsson Åsa" userId="e7c157ac-c4f4-446a-aea7-2d9507f60b0e" providerId="ADAL" clId="{D879C025-AD04-4072-B4E0-49D6DD49C344}" dt="2020-04-21T08:17:03.366" v="37"/>
        <pc:sldMkLst>
          <pc:docMk/>
          <pc:sldMk cId="2079814770" sldId="330"/>
        </pc:sldMkLst>
        <pc:picChg chg="add mod">
          <ac:chgData name="Jonsson Åsa" userId="e7c157ac-c4f4-446a-aea7-2d9507f60b0e" providerId="ADAL" clId="{D879C025-AD04-4072-B4E0-49D6DD49C344}" dt="2020-04-21T08:17:03.366" v="37"/>
          <ac:picMkLst>
            <pc:docMk/>
            <pc:sldMk cId="2079814770" sldId="330"/>
            <ac:picMk id="6" creationId="{35D61E52-3701-46F0-A745-B8281D718355}"/>
          </ac:picMkLst>
        </pc:picChg>
      </pc:sldChg>
      <pc:sldChg chg="addSp modSp add">
        <pc:chgData name="Jonsson Åsa" userId="e7c157ac-c4f4-446a-aea7-2d9507f60b0e" providerId="ADAL" clId="{D879C025-AD04-4072-B4E0-49D6DD49C344}" dt="2020-04-21T08:17:20.812" v="38"/>
        <pc:sldMkLst>
          <pc:docMk/>
          <pc:sldMk cId="2646027794" sldId="331"/>
        </pc:sldMkLst>
        <pc:picChg chg="add mod">
          <ac:chgData name="Jonsson Åsa" userId="e7c157ac-c4f4-446a-aea7-2d9507f60b0e" providerId="ADAL" clId="{D879C025-AD04-4072-B4E0-49D6DD49C344}" dt="2020-04-21T08:17:20.812" v="38"/>
          <ac:picMkLst>
            <pc:docMk/>
            <pc:sldMk cId="2646027794" sldId="331"/>
            <ac:picMk id="6" creationId="{EB6C3F0E-7412-46AA-8411-3DDBF1218820}"/>
          </ac:picMkLst>
        </pc:picChg>
      </pc:sldChg>
      <pc:sldChg chg="addSp modSp add">
        <pc:chgData name="Jonsson Åsa" userId="e7c157ac-c4f4-446a-aea7-2d9507f60b0e" providerId="ADAL" clId="{D879C025-AD04-4072-B4E0-49D6DD49C344}" dt="2020-04-21T08:17:36.679" v="39"/>
        <pc:sldMkLst>
          <pc:docMk/>
          <pc:sldMk cId="69975026" sldId="332"/>
        </pc:sldMkLst>
        <pc:picChg chg="add mod">
          <ac:chgData name="Jonsson Åsa" userId="e7c157ac-c4f4-446a-aea7-2d9507f60b0e" providerId="ADAL" clId="{D879C025-AD04-4072-B4E0-49D6DD49C344}" dt="2020-04-21T08:17:36.679" v="39"/>
          <ac:picMkLst>
            <pc:docMk/>
            <pc:sldMk cId="69975026" sldId="332"/>
            <ac:picMk id="6" creationId="{7E6873A2-CD52-43F8-BB20-C4D11D3BAD9B}"/>
          </ac:picMkLst>
        </pc:picChg>
      </pc:sldChg>
      <pc:sldChg chg="addSp modSp add">
        <pc:chgData name="Jonsson Åsa" userId="e7c157ac-c4f4-446a-aea7-2d9507f60b0e" providerId="ADAL" clId="{D879C025-AD04-4072-B4E0-49D6DD49C344}" dt="2020-04-21T08:17:48.901" v="40"/>
        <pc:sldMkLst>
          <pc:docMk/>
          <pc:sldMk cId="926616148" sldId="333"/>
        </pc:sldMkLst>
        <pc:picChg chg="add mod">
          <ac:chgData name="Jonsson Åsa" userId="e7c157ac-c4f4-446a-aea7-2d9507f60b0e" providerId="ADAL" clId="{D879C025-AD04-4072-B4E0-49D6DD49C344}" dt="2020-04-21T08:17:48.901" v="40"/>
          <ac:picMkLst>
            <pc:docMk/>
            <pc:sldMk cId="926616148" sldId="333"/>
            <ac:picMk id="6" creationId="{BDEC5808-8FE7-48C4-8D03-AA53DDFC0237}"/>
          </ac:picMkLst>
        </pc:picChg>
      </pc:sldChg>
      <pc:sldChg chg="addSp modSp add ord">
        <pc:chgData name="Jonsson Åsa" userId="e7c157ac-c4f4-446a-aea7-2d9507f60b0e" providerId="ADAL" clId="{D879C025-AD04-4072-B4E0-49D6DD49C344}" dt="2020-04-21T08:12:09.399" v="32"/>
        <pc:sldMkLst>
          <pc:docMk/>
          <pc:sldMk cId="3034087840" sldId="334"/>
        </pc:sldMkLst>
        <pc:picChg chg="add mod">
          <ac:chgData name="Jonsson Åsa" userId="e7c157ac-c4f4-446a-aea7-2d9507f60b0e" providerId="ADAL" clId="{D879C025-AD04-4072-B4E0-49D6DD49C344}" dt="2020-04-21T08:11:59.845" v="31"/>
          <ac:picMkLst>
            <pc:docMk/>
            <pc:sldMk cId="3034087840" sldId="334"/>
            <ac:picMk id="6" creationId="{8AD3EEA6-8C52-403E-9ACF-CCCB8DE23C71}"/>
          </ac:picMkLst>
        </pc:picChg>
      </pc:sldChg>
      <pc:sldChg chg="addSp modSp add">
        <pc:chgData name="Jonsson Åsa" userId="e7c157ac-c4f4-446a-aea7-2d9507f60b0e" providerId="ADAL" clId="{D879C025-AD04-4072-B4E0-49D6DD49C344}" dt="2020-04-21T08:18:32.670" v="41"/>
        <pc:sldMkLst>
          <pc:docMk/>
          <pc:sldMk cId="1546147534" sldId="335"/>
        </pc:sldMkLst>
        <pc:picChg chg="add mod">
          <ac:chgData name="Jonsson Åsa" userId="e7c157ac-c4f4-446a-aea7-2d9507f60b0e" providerId="ADAL" clId="{D879C025-AD04-4072-B4E0-49D6DD49C344}" dt="2020-04-21T08:18:32.670" v="41"/>
          <ac:picMkLst>
            <pc:docMk/>
            <pc:sldMk cId="1546147534" sldId="335"/>
            <ac:picMk id="6" creationId="{D21233A5-16C4-4A8E-BEA1-9B5464F648D5}"/>
          </ac:picMkLst>
        </pc:picChg>
      </pc:sldChg>
      <pc:sldChg chg="addSp modSp add">
        <pc:chgData name="Jonsson Åsa" userId="e7c157ac-c4f4-446a-aea7-2d9507f60b0e" providerId="ADAL" clId="{D879C025-AD04-4072-B4E0-49D6DD49C344}" dt="2020-04-21T08:18:55.122" v="42"/>
        <pc:sldMkLst>
          <pc:docMk/>
          <pc:sldMk cId="198090622" sldId="336"/>
        </pc:sldMkLst>
        <pc:picChg chg="add mod">
          <ac:chgData name="Jonsson Åsa" userId="e7c157ac-c4f4-446a-aea7-2d9507f60b0e" providerId="ADAL" clId="{D879C025-AD04-4072-B4E0-49D6DD49C344}" dt="2020-04-21T08:18:55.122" v="42"/>
          <ac:picMkLst>
            <pc:docMk/>
            <pc:sldMk cId="198090622" sldId="336"/>
            <ac:picMk id="6" creationId="{1D597AD6-5D8D-4301-A3DA-A99DA44AF453}"/>
          </ac:picMkLst>
        </pc:picChg>
      </pc:sldChg>
    </pc:docChg>
  </pc:docChgLst>
  <pc:docChgLst>
    <pc:chgData name="Jonsson Åsa" userId="S::asa.jonsson@inera.se::e7c157ac-c4f4-446a-aea7-2d9507f60b0e" providerId="AD" clId="Web-{13189DFE-D77A-43F9-9480-E8A42655CBFC}"/>
    <pc:docChg chg="modSld">
      <pc:chgData name="Jonsson Åsa" userId="S::asa.jonsson@inera.se::e7c157ac-c4f4-446a-aea7-2d9507f60b0e" providerId="AD" clId="Web-{13189DFE-D77A-43F9-9480-E8A42655CBFC}" dt="2020-04-16T10:15:12.539" v="12" actId="20577"/>
      <pc:docMkLst>
        <pc:docMk/>
      </pc:docMkLst>
    </pc:docChg>
  </pc:docChgLst>
  <pc:docChgLst>
    <pc:chgData name="Jonsson Åsa" userId="S::asa.jonsson@inera.se::e7c157ac-c4f4-446a-aea7-2d9507f60b0e" providerId="AD" clId="Web-{00DCFAFB-3DFA-4B6B-B8E1-218E7E579386}"/>
    <pc:docChg chg="addSld delSld modSld sldOrd">
      <pc:chgData name="Jonsson Åsa" userId="S::asa.jonsson@inera.se::e7c157ac-c4f4-446a-aea7-2d9507f60b0e" providerId="AD" clId="Web-{00DCFAFB-3DFA-4B6B-B8E1-218E7E579386}" dt="2020-04-16T10:10:54.123" v="84" actId="20577"/>
      <pc:docMkLst>
        <pc:docMk/>
      </pc:docMkLst>
    </pc:docChg>
  </pc:docChgLst>
  <pc:docChgLst>
    <pc:chgData name="Jonsson Åsa" userId="e7c157ac-c4f4-446a-aea7-2d9507f60b0e" providerId="ADAL" clId="{CA071598-9A26-4556-BAEA-D43DADB3A701}"/>
    <pc:docChg chg="modSld">
      <pc:chgData name="Jonsson Åsa" userId="e7c157ac-c4f4-446a-aea7-2d9507f60b0e" providerId="ADAL" clId="{CA071598-9A26-4556-BAEA-D43DADB3A701}" dt="2020-04-16T10:13:36.582" v="2"/>
      <pc:docMkLst>
        <pc:docMk/>
      </pc:docMkLst>
    </pc:docChg>
  </pc:docChgLst>
  <pc:docChgLst>
    <pc:chgData name="Jonsson Åsa" userId="e7c157ac-c4f4-446a-aea7-2d9507f60b0e" providerId="ADAL" clId="{C815DDBA-55D7-4666-89BE-62102FF7B90F}"/>
    <pc:docChg chg="undo custSel addSld delSld modSld">
      <pc:chgData name="Jonsson Åsa" userId="e7c157ac-c4f4-446a-aea7-2d9507f60b0e" providerId="ADAL" clId="{C815DDBA-55D7-4666-89BE-62102FF7B90F}" dt="2020-04-16T10:29:01.567" v="418" actId="11"/>
      <pc:docMkLst>
        <pc:docMk/>
      </pc:docMkLst>
    </pc:docChg>
  </pc:docChgLst>
  <pc:docChgLst>
    <pc:chgData name="Jonsson Åsa" userId="S::asa.jonsson@inera.se::e7c157ac-c4f4-446a-aea7-2d9507f60b0e" providerId="AD" clId="Web-{68F95306-8734-441A-A052-499F115DF303}"/>
    <pc:docChg chg="addSld delSld modSld">
      <pc:chgData name="Jonsson Åsa" userId="S::asa.jonsson@inera.se::e7c157ac-c4f4-446a-aea7-2d9507f60b0e" providerId="AD" clId="Web-{68F95306-8734-441A-A052-499F115DF303}" dt="2020-04-16T09:58:41.029" v="35" actId="20577"/>
      <pc:docMkLst>
        <pc:docMk/>
      </pc:docMkLst>
    </pc:docChg>
  </pc:docChgLst>
  <pc:docChgLst>
    <pc:chgData name="Jonsson Åsa" userId="S::asa.jonsson@inera.se::e7c157ac-c4f4-446a-aea7-2d9507f60b0e" providerId="AD" clId="Web-{3A647E18-9FCB-4780-B947-AA14AF761414}"/>
    <pc:docChg chg="modSld">
      <pc:chgData name="Jonsson Åsa" userId="S::asa.jonsson@inera.se::e7c157ac-c4f4-446a-aea7-2d9507f60b0e" providerId="AD" clId="Web-{3A647E18-9FCB-4780-B947-AA14AF761414}" dt="2020-04-16T07:24:29.904" v="216" actId="20577"/>
      <pc:docMkLst>
        <pc:docMk/>
      </pc:docMkLst>
    </pc:docChg>
  </pc:docChgLst>
  <pc:docChgLst>
    <pc:chgData name="Jonsson Åsa" userId="S::asa.jonsson@inera.se::e7c157ac-c4f4-446a-aea7-2d9507f60b0e" providerId="AD" clId="Web-{E6E17896-7FE0-4F1E-84BF-1C621AD26158}"/>
    <pc:docChg chg="modSld">
      <pc:chgData name="Jonsson Åsa" userId="S::asa.jonsson@inera.se::e7c157ac-c4f4-446a-aea7-2d9507f60b0e" providerId="AD" clId="Web-{E6E17896-7FE0-4F1E-84BF-1C621AD26158}" dt="2020-04-16T11:05:16.967" v="43" actId="20577"/>
      <pc:docMkLst>
        <pc:docMk/>
      </pc:docMkLst>
    </pc:docChg>
  </pc:docChgLst>
  <pc:docChgLst>
    <pc:chgData name="Jonsson Åsa" userId="S::asa.jonsson@inera.se::e7c157ac-c4f4-446a-aea7-2d9507f60b0e" providerId="AD" clId="Web-{777DC56D-9971-4393-B96E-8F9C67B2DDB5}"/>
    <pc:docChg chg="modSld">
      <pc:chgData name="Jonsson Åsa" userId="S::asa.jonsson@inera.se::e7c157ac-c4f4-446a-aea7-2d9507f60b0e" providerId="AD" clId="Web-{777DC56D-9971-4393-B96E-8F9C67B2DDB5}" dt="2020-04-16T10:57:58.395" v="51" actId="20577"/>
      <pc:docMkLst>
        <pc:docMk/>
      </pc:docMkLst>
    </pc:docChg>
  </pc:docChgLst>
  <pc:docChgLst>
    <pc:chgData name="Jonsson Åsa" userId="S::asa.jonsson@inera.se::e7c157ac-c4f4-446a-aea7-2d9507f60b0e" providerId="AD" clId="Web-{D6AEF8A0-4D9B-4BC8-BBA9-927ED466BEA7}"/>
    <pc:docChg chg="modSld">
      <pc:chgData name="Jonsson Åsa" userId="S::asa.jonsson@inera.se::e7c157ac-c4f4-446a-aea7-2d9507f60b0e" providerId="AD" clId="Web-{D6AEF8A0-4D9B-4BC8-BBA9-927ED466BEA7}" dt="2020-04-16T16:02:46.643" v="36" actId="20577"/>
      <pc:docMkLst>
        <pc:docMk/>
      </pc:docMkLst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23D13-F35E-4529-B3F7-0633FF5C8FD7}" type="datetimeFigureOut">
              <a:rPr lang="sv-SE" smtClean="0"/>
              <a:t>2020-04-2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EDCF4-EC53-45ED-9657-3068B2115E4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8782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F6D261CD-7475-462D-96A6-570AC61F5569}"/>
              </a:ext>
            </a:extLst>
          </p:cNvPr>
          <p:cNvSpPr/>
          <p:nvPr userDrawn="1"/>
        </p:nvSpPr>
        <p:spPr>
          <a:xfrm>
            <a:off x="0" y="0"/>
            <a:ext cx="12192000" cy="5644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01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3338" y="1693273"/>
            <a:ext cx="5958536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E79EAE5D-FEC0-4EF7-BBA5-3270B4215A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503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5795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567736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693273"/>
            <a:ext cx="5919810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DCD0C5FE-126D-416C-9A5B-02C9EAD42F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4634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419791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D5545B1-EC61-4586-B3F7-6354B25D50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DDFEC98-4970-485D-A1F1-BBD55667B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216" y="2392723"/>
            <a:ext cx="3357569" cy="136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4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4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3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2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24575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813EFC0E-885A-43B5-9260-07804A71EAA3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B8308509-CDE4-4C50-93DD-8185D40323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F82C88D0-E5EA-4C03-9F7E-472FA161F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22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15050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D7C6379A-E5B9-4DBE-87E3-D8A0F4B3241B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98DE3D41-C2B5-4D95-91B2-B0834D588D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2BD7D724-E84A-4821-8A86-18337A832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8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B980B2C3-6720-4B17-BCEF-D058EE6EA5EF}"/>
              </a:ext>
            </a:extLst>
          </p:cNvPr>
          <p:cNvSpPr/>
          <p:nvPr userDrawn="1"/>
        </p:nvSpPr>
        <p:spPr>
          <a:xfrm>
            <a:off x="0" y="0"/>
            <a:ext cx="12192000" cy="61170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184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423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072630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3" y="1693273"/>
            <a:ext cx="10018845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365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223EEBE-07D2-4BC2-B732-B72D949B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497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411" imgH="412" progId="TCLayout.ActiveDocument.1">
                  <p:embed/>
                </p:oleObj>
              </mc:Choice>
              <mc:Fallback>
                <p:oleObj name="think-cell Slide" r:id="rId17" imgW="411" imgH="412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223EEBE-07D2-4BC2-B732-B72D949B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92491012-DCA1-42B2-89F4-9B6C3B60D0E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400" b="1" i="0" baseline="0">
              <a:latin typeface="Inter"/>
              <a:ea typeface="+mj-ea"/>
              <a:cs typeface="+mj-cs"/>
              <a:sym typeface="Inter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113D54B3-3F29-493D-B9C7-8FF2C8DE3569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DC7C7845-42F2-47E4-96D5-7F5977D34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B6E503-A6AE-440E-9524-D5848DBA3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2424" y="1693273"/>
            <a:ext cx="10459450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83F6A5D-1C51-4365-ABBC-26E2E26DE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E1800B5-0CC4-499E-AD85-61BE4A07F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EAFFFF7-0E10-4F4B-9970-4B0EEECA844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FB36DCB9-B0BC-4692-9E94-7E0F650AAE02}"/>
              </a:ext>
            </a:extLst>
          </p:cNvPr>
          <p:cNvCxnSpPr>
            <a:cxnSpLocks/>
          </p:cNvCxnSpPr>
          <p:nvPr userDrawn="1"/>
        </p:nvCxnSpPr>
        <p:spPr>
          <a:xfrm flipH="1">
            <a:off x="642809" y="6450806"/>
            <a:ext cx="16637" cy="813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ktangel 3">
            <a:extLst>
              <a:ext uri="{FF2B5EF4-FFF2-40B4-BE49-F238E27FC236}">
                <a16:creationId xmlns:a16="http://schemas.microsoft.com/office/drawing/2014/main" id="{EB9E73E2-B998-4067-931F-01E9716BB421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4857C6E5-A5AF-4290-829D-C981D052ABE1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58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9" r:id="rId4"/>
    <p:sldLayoutId id="2147483656" r:id="rId5"/>
    <p:sldLayoutId id="2147483657" r:id="rId6"/>
    <p:sldLayoutId id="2147483660" r:id="rId7"/>
    <p:sldLayoutId id="2147483653" r:id="rId8"/>
    <p:sldLayoutId id="2147483654" r:id="rId9"/>
    <p:sldLayoutId id="2147483650" r:id="rId10"/>
    <p:sldLayoutId id="2147483652" r:id="rId11"/>
    <p:sldLayoutId id="214748365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spc="-15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F753816-28F6-4349-9BC5-6C99DB789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D4C0DF93-A43E-4870-B8B0-59F38B4330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3D3E40C5-64C7-4B49-9028-A77CACAC2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D12E3EC6-4990-4638-94F2-C3E5BB663C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81"/>
            <a:ext cx="12192000" cy="681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9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BDCC48A-B90F-4276-866E-54B6E950B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1B27A59B-F133-44D8-BE3C-F374130D7A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4B67EFBA-4D70-4039-B403-59124CC4A9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0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EB6C3F0E-7412-46AA-8411-3DDBF12188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2022"/>
            <a:ext cx="12192000" cy="5933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027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490AD92-9180-432E-9FDC-B7D9D801AC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DCB639A1-898F-431A-A1F6-92C91F8084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81E65EB0-FCD3-427D-B7B2-4F30B6FAD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1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7E6873A2-CD52-43F8-BB20-C4D11D3BAD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959" y="0"/>
            <a:ext cx="1135808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7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83CB798-4001-4C80-8248-C9A3F1651E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C6962CAE-E7C3-4F10-935C-C5E7A19B05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3811A1A9-ACED-4058-8EEA-C1CA8346D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2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BDEC5808-8FE7-48C4-8D03-AA53DDFC02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2897"/>
            <a:ext cx="12192000" cy="6392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61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032C22C-9C03-4AB9-979F-F57BC3515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EF1AAFA-8F97-4B49-86BF-7840F7190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8F98F74-7482-4B44-98F1-172661839F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3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D21233A5-16C4-4A8E-BEA1-9B5464F648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4101" y="0"/>
            <a:ext cx="84037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147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6D7AC7D-004D-4344-898B-378A02467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FE403231-4A17-438E-B9AA-37A1890209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A4D59D1-FB41-43AE-AC93-5CF85222D8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4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1D597AD6-5D8D-4301-A3DA-A99DA44AF4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059" y="0"/>
            <a:ext cx="796388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9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DB93FDB-3FA4-4DA2-8245-92D04051E6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1E7035C4-74B4-4F84-B22E-286D683102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F30D75D-ACBE-44D9-964E-B13EDF4E49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2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FF7AAD29-4CD5-4D0F-A040-090D3FD5A6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9221"/>
            <a:ext cx="12192000" cy="6659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01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A74EF42-ABA9-4E65-ABB6-D65AD1D51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B1F4D92-3A64-461C-BC28-940E8E851B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DC62379-5781-44F5-98E1-DF341462E0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3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6588C029-363E-48E7-9280-6DBB3CD523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188"/>
            <a:ext cx="12192000" cy="6767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60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F57CD6C-BFB2-48F0-9CEC-A8565084E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7AD4E2F0-8A89-43F8-81E4-DAB69C81A0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4816B094-0DAB-4663-9981-E6DE4CEBCF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4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AD3EEA6-8C52-403E-9ACF-CCCB8DE23C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8275"/>
            <a:ext cx="12192000" cy="668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08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8F5C8B4-33EB-4F17-AD34-30AE85CF8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662F6CEB-728F-44BC-9FBD-2A8237DDD2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752BB9E-4BEB-4C98-ABD1-9373506065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5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32C985ED-1225-459C-9CE0-373618580A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377"/>
            <a:ext cx="12192000" cy="6769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2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E783AA-EB45-437C-A23C-CCBC93E48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AD961D0B-EC0A-4010-9C44-C1304F76A3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D86082F-0C72-47B9-A44D-16E664945A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6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20EC805F-DBB4-41FE-BDFC-A8848460C4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0554"/>
            <a:ext cx="12192000" cy="6636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6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82F4139-C892-4A5C-A798-0EAF72C71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038A568E-92A5-42AE-8B56-B6A690F75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D03CFEB-9DE6-4FB9-B608-3FC40767E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7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97CABA11-408B-4C61-B744-EC7FF69EB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0584"/>
            <a:ext cx="12192000" cy="627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36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7A8A779-773B-427E-897E-92B421F54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4F4D221E-73A5-43DD-A280-74802E4162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5A94B51-CF6E-44C3-BE7D-44F35CF553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8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F6656A72-2A93-40B0-8A34-60F9DE05D4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2572"/>
            <a:ext cx="12192000" cy="613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753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EAAF004-B480-4AB8-8B55-3B1B053F52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6AD5890-1BB8-4E78-B5CE-3507C7CDD3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210FCF06-8B1A-4DFC-AE65-4333A59C03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9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35D61E52-3701-46F0-A745-B8281D7183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0" y="0"/>
            <a:ext cx="1200581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814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q8pWEAipNB.83_P_hIiw"/>
</p:tagLst>
</file>

<file path=ppt/theme/theme1.xml><?xml version="1.0" encoding="utf-8"?>
<a:theme xmlns:a="http://schemas.openxmlformats.org/drawingml/2006/main" name="1177 Vårguiden">
  <a:themeElements>
    <a:clrScheme name="1177">
      <a:dk1>
        <a:sysClr val="windowText" lastClr="000000"/>
      </a:dk1>
      <a:lt1>
        <a:sysClr val="window" lastClr="FFFFFF"/>
      </a:lt1>
      <a:dk2>
        <a:srgbClr val="FA8100"/>
      </a:dk2>
      <a:lt2>
        <a:srgbClr val="636466"/>
      </a:lt2>
      <a:accent1>
        <a:srgbClr val="C12143"/>
      </a:accent1>
      <a:accent2>
        <a:srgbClr val="6A0032"/>
      </a:accent2>
      <a:accent3>
        <a:srgbClr val="FAEEF0"/>
      </a:accent3>
      <a:accent4>
        <a:srgbClr val="396291"/>
      </a:accent4>
      <a:accent5>
        <a:srgbClr val="438F2C"/>
      </a:accent5>
      <a:accent6>
        <a:srgbClr val="A9428B"/>
      </a:accent6>
      <a:hlink>
        <a:srgbClr val="C12143"/>
      </a:hlink>
      <a:folHlink>
        <a:srgbClr val="6A0032"/>
      </a:folHlink>
    </a:clrScheme>
    <a:fontScheme name="1177">
      <a:majorFont>
        <a:latin typeface="Inter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ll_PPT_20190416  -  Skrivskyddad" id="{22903717-B928-4645-BD5D-D0BD4232857A}" vid="{FA763605-81F1-4FF2-B45C-69DD8ABF749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4AF1B5AFADE1438984E4ED97CAED62" ma:contentTypeVersion="7" ma:contentTypeDescription="Skapa ett nytt dokument." ma:contentTypeScope="" ma:versionID="ec5ff28e6909e45a4bb6e192237c9ca0">
  <xsd:schema xmlns:xsd="http://www.w3.org/2001/XMLSchema" xmlns:xs="http://www.w3.org/2001/XMLSchema" xmlns:p="http://schemas.microsoft.com/office/2006/metadata/properties" xmlns:ns2="69252be8-17ef-4408-949c-5e7cc87314a9" targetNamespace="http://schemas.microsoft.com/office/2006/metadata/properties" ma:root="true" ma:fieldsID="b9e38a575ce902ee5438be0379e751b9" ns2:_="">
    <xsd:import namespace="69252be8-17ef-4408-949c-5e7cc87314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252be8-17ef-4408-949c-5e7cc87314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5AB53AA-EBE4-46F9-A91E-045D87E59A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CBD8053-480D-4644-8EBE-268038CA4D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252be8-17ef-4408-949c-5e7cc87314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4068680-729C-46D7-81EE-A3EC47914E3B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</TotalTime>
  <Words>14</Words>
  <Application>Microsoft Office PowerPoint</Application>
  <PresentationFormat>Bredbild</PresentationFormat>
  <Paragraphs>14</Paragraphs>
  <Slides>14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4</vt:i4>
      </vt:variant>
    </vt:vector>
  </HeadingPairs>
  <TitlesOfParts>
    <vt:vector size="20" baseType="lpstr">
      <vt:lpstr>Arial</vt:lpstr>
      <vt:lpstr>Calibri</vt:lpstr>
      <vt:lpstr>Inter</vt:lpstr>
      <vt:lpstr>Open Sans</vt:lpstr>
      <vt:lpstr>1177 Vårguiden</vt:lpstr>
      <vt:lpstr>think-cell Slid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 rubrik kommer att stå här och kan vara på tre rader</dc:title>
  <dc:creator>Bennani Safia</dc:creator>
  <cp:lastModifiedBy>Jonsson Åsa</cp:lastModifiedBy>
  <cp:revision>25</cp:revision>
  <dcterms:created xsi:type="dcterms:W3CDTF">2019-08-13T08:23:18Z</dcterms:created>
  <dcterms:modified xsi:type="dcterms:W3CDTF">2020-04-21T08:1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4AF1B5AFADE1438984E4ED97CAED62</vt:lpwstr>
  </property>
</Properties>
</file>